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2" r:id="rId1"/>
    <p:sldMasterId id="2147483993" r:id="rId2"/>
    <p:sldMasterId id="2147484008" r:id="rId3"/>
  </p:sldMasterIdLst>
  <p:notesMasterIdLst>
    <p:notesMasterId r:id="rId8"/>
  </p:notesMasterIdLst>
  <p:handoutMasterIdLst>
    <p:handoutMasterId r:id="rId9"/>
  </p:handoutMasterIdLst>
  <p:sldIdLst>
    <p:sldId id="1979" r:id="rId4"/>
    <p:sldId id="1980" r:id="rId5"/>
    <p:sldId id="1981" r:id="rId6"/>
    <p:sldId id="1982" r:id="rId7"/>
  </p:sldIdLst>
  <p:sldSz cx="10225088" cy="6859588"/>
  <p:notesSz cx="7099300" cy="10234613"/>
  <p:custDataLst>
    <p:tags r:id="rId10"/>
  </p:custDataLst>
  <p:defaultTextStyle>
    <a:defPPr>
      <a:defRPr lang="zh-CN"/>
    </a:defPPr>
    <a:lvl1pPr marL="0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43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286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29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571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214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857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500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143" algn="l" defTabSz="105128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322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pos="22">
          <p15:clr>
            <a:srgbClr val="A4A3A4"/>
          </p15:clr>
        </p15:guide>
        <p15:guide id="5" orient="horz" pos="2478">
          <p15:clr>
            <a:srgbClr val="A4A3A4"/>
          </p15:clr>
        </p15:guide>
        <p15:guide id="6" orient="horz" pos="128">
          <p15:clr>
            <a:srgbClr val="A4A3A4"/>
          </p15:clr>
        </p15:guide>
        <p15:guide id="7" pos="179">
          <p15:clr>
            <a:srgbClr val="A4A3A4"/>
          </p15:clr>
        </p15:guide>
        <p15:guide id="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深色样式 1 - 强调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主题样式 2 - 强调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24" autoAdjust="0"/>
    <p:restoredTop sz="77122" autoAdjust="0"/>
  </p:normalViewPr>
  <p:slideViewPr>
    <p:cSldViewPr snapToObjects="1">
      <p:cViewPr>
        <p:scale>
          <a:sx n="66" d="100"/>
          <a:sy n="66" d="100"/>
        </p:scale>
        <p:origin x="48" y="540"/>
      </p:cViewPr>
      <p:guideLst>
        <p:guide orient="horz" pos="2161"/>
        <p:guide pos="3221"/>
        <p:guide orient="horz" pos="119"/>
        <p:guide pos="22"/>
        <p:guide orient="horz" pos="2478"/>
        <p:guide orient="horz" pos="128"/>
        <p:guide pos="179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06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zh-CN" altLang="en-US" sz="1200" dirty="0"/>
              <a:t>南京</a:t>
            </a:r>
            <a:r>
              <a:rPr lang="zh-CN" sz="1200" dirty="0"/>
              <a:t>市场（</a:t>
            </a:r>
            <a:r>
              <a:rPr lang="zh-CN" altLang="en-US" sz="1200" dirty="0"/>
              <a:t>不</a:t>
            </a:r>
            <a:r>
              <a:rPr lang="zh-CN" sz="1200" dirty="0"/>
              <a:t>含</a:t>
            </a:r>
            <a:r>
              <a:rPr lang="zh-CN" altLang="en-US" sz="1200" dirty="0"/>
              <a:t>溧水、高淳</a:t>
            </a:r>
            <a:r>
              <a:rPr lang="zh-CN" sz="1200" dirty="0"/>
              <a:t>）月度供销价走势</a:t>
            </a:r>
          </a:p>
        </c:rich>
      </c:tx>
      <c:layout>
        <c:manualLayout>
          <c:xMode val="edge"/>
          <c:yMode val="edge"/>
          <c:x val="0.34162174295840508"/>
          <c:y val="5.6230020632432764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上市量</c:v>
                </c:pt>
              </c:strCache>
            </c:strRef>
          </c:tx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706</c:v>
                </c:pt>
                <c:pt idx="1">
                  <c:v>201707</c:v>
                </c:pt>
                <c:pt idx="2">
                  <c:v>201708</c:v>
                </c:pt>
                <c:pt idx="3">
                  <c:v>201709</c:v>
                </c:pt>
                <c:pt idx="4">
                  <c:v>201710</c:v>
                </c:pt>
                <c:pt idx="5">
                  <c:v>201711</c:v>
                </c:pt>
                <c:pt idx="6">
                  <c:v>201712</c:v>
                </c:pt>
                <c:pt idx="7">
                  <c:v>201801</c:v>
                </c:pt>
                <c:pt idx="8">
                  <c:v>201802</c:v>
                </c:pt>
                <c:pt idx="9">
                  <c:v>201803</c:v>
                </c:pt>
                <c:pt idx="10">
                  <c:v>201804</c:v>
                </c:pt>
                <c:pt idx="11">
                  <c:v>201805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90.65</c:v>
                </c:pt>
                <c:pt idx="1">
                  <c:v>78.5</c:v>
                </c:pt>
                <c:pt idx="2">
                  <c:v>35.19</c:v>
                </c:pt>
                <c:pt idx="3">
                  <c:v>23.72</c:v>
                </c:pt>
                <c:pt idx="4">
                  <c:v>12.49</c:v>
                </c:pt>
                <c:pt idx="5">
                  <c:v>126.97</c:v>
                </c:pt>
                <c:pt idx="6">
                  <c:v>132.69</c:v>
                </c:pt>
                <c:pt idx="7">
                  <c:v>27.08</c:v>
                </c:pt>
                <c:pt idx="8">
                  <c:v>13.84</c:v>
                </c:pt>
                <c:pt idx="9">
                  <c:v>18.54</c:v>
                </c:pt>
                <c:pt idx="10">
                  <c:v>34.200000000000003</c:v>
                </c:pt>
                <c:pt idx="11">
                  <c:v>37.88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CB-4B09-A7D6-2D9ED4DEAA1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销售量</c:v>
                </c:pt>
              </c:strCache>
            </c:strRef>
          </c:tx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706</c:v>
                </c:pt>
                <c:pt idx="1">
                  <c:v>201707</c:v>
                </c:pt>
                <c:pt idx="2">
                  <c:v>201708</c:v>
                </c:pt>
                <c:pt idx="3">
                  <c:v>201709</c:v>
                </c:pt>
                <c:pt idx="4">
                  <c:v>201710</c:v>
                </c:pt>
                <c:pt idx="5">
                  <c:v>201711</c:v>
                </c:pt>
                <c:pt idx="6">
                  <c:v>201712</c:v>
                </c:pt>
                <c:pt idx="7">
                  <c:v>201801</c:v>
                </c:pt>
                <c:pt idx="8">
                  <c:v>201802</c:v>
                </c:pt>
                <c:pt idx="9">
                  <c:v>201803</c:v>
                </c:pt>
                <c:pt idx="10">
                  <c:v>201804</c:v>
                </c:pt>
                <c:pt idx="11">
                  <c:v>201805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56.83</c:v>
                </c:pt>
                <c:pt idx="1">
                  <c:v>67.760000000000005</c:v>
                </c:pt>
                <c:pt idx="2">
                  <c:v>38.25</c:v>
                </c:pt>
                <c:pt idx="3">
                  <c:v>76.09</c:v>
                </c:pt>
                <c:pt idx="4">
                  <c:v>41.43</c:v>
                </c:pt>
                <c:pt idx="5">
                  <c:v>53.42</c:v>
                </c:pt>
                <c:pt idx="6">
                  <c:v>89.05</c:v>
                </c:pt>
                <c:pt idx="7">
                  <c:v>77.010000000000005</c:v>
                </c:pt>
                <c:pt idx="8">
                  <c:v>36.700000000000003</c:v>
                </c:pt>
                <c:pt idx="9">
                  <c:v>29.83</c:v>
                </c:pt>
                <c:pt idx="10">
                  <c:v>38.03</c:v>
                </c:pt>
                <c:pt idx="11">
                  <c:v>35.61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CB-4B09-A7D6-2D9ED4DEA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1516288"/>
        <c:axId val="41298483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销售均价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1706</c:v>
                </c:pt>
                <c:pt idx="1">
                  <c:v>201707</c:v>
                </c:pt>
                <c:pt idx="2">
                  <c:v>201708</c:v>
                </c:pt>
                <c:pt idx="3">
                  <c:v>201709</c:v>
                </c:pt>
                <c:pt idx="4">
                  <c:v>201710</c:v>
                </c:pt>
                <c:pt idx="5">
                  <c:v>201711</c:v>
                </c:pt>
                <c:pt idx="6">
                  <c:v>201712</c:v>
                </c:pt>
                <c:pt idx="7">
                  <c:v>201801</c:v>
                </c:pt>
                <c:pt idx="8">
                  <c:v>201802</c:v>
                </c:pt>
                <c:pt idx="9">
                  <c:v>201803</c:v>
                </c:pt>
                <c:pt idx="10">
                  <c:v>201804</c:v>
                </c:pt>
                <c:pt idx="11">
                  <c:v>201805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25472</c:v>
                </c:pt>
                <c:pt idx="1">
                  <c:v>24709</c:v>
                </c:pt>
                <c:pt idx="2">
                  <c:v>22895</c:v>
                </c:pt>
                <c:pt idx="3">
                  <c:v>27603</c:v>
                </c:pt>
                <c:pt idx="4">
                  <c:v>24024</c:v>
                </c:pt>
                <c:pt idx="5">
                  <c:v>24717</c:v>
                </c:pt>
                <c:pt idx="6">
                  <c:v>26590</c:v>
                </c:pt>
                <c:pt idx="7">
                  <c:v>26728</c:v>
                </c:pt>
                <c:pt idx="8">
                  <c:v>25196</c:v>
                </c:pt>
                <c:pt idx="9">
                  <c:v>24765</c:v>
                </c:pt>
                <c:pt idx="10">
                  <c:v>27839</c:v>
                </c:pt>
                <c:pt idx="11">
                  <c:v>258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CB-4B09-A7D6-2D9ED4DEA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986368"/>
        <c:axId val="413184768"/>
      </c:lineChart>
      <c:catAx>
        <c:axId val="411516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12984832"/>
        <c:crosses val="autoZero"/>
        <c:auto val="1"/>
        <c:lblAlgn val="ctr"/>
        <c:lblOffset val="100"/>
        <c:noMultiLvlLbl val="0"/>
      </c:catAx>
      <c:valAx>
        <c:axId val="412984832"/>
        <c:scaling>
          <c:orientation val="minMax"/>
        </c:scaling>
        <c:delete val="0"/>
        <c:axPos val="l"/>
        <c:majorGridlines/>
        <c:numFmt formatCode="0.00_ " sourceLinked="0"/>
        <c:majorTickMark val="none"/>
        <c:minorTickMark val="none"/>
        <c:tickLblPos val="nextTo"/>
        <c:crossAx val="411516288"/>
        <c:crosses val="autoZero"/>
        <c:crossBetween val="between"/>
      </c:valAx>
      <c:catAx>
        <c:axId val="412986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3184768"/>
        <c:crosses val="autoZero"/>
        <c:auto val="1"/>
        <c:lblAlgn val="ctr"/>
        <c:lblOffset val="100"/>
        <c:noMultiLvlLbl val="0"/>
      </c:catAx>
      <c:valAx>
        <c:axId val="41318476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412986368"/>
        <c:crosses val="max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900"/>
            </a:pPr>
            <a:endParaRPr lang="zh-CN"/>
          </a:p>
        </c:txPr>
      </c:dTable>
      <c:spPr>
        <a:noFill/>
        <a:ln w="25397">
          <a:noFill/>
        </a:ln>
      </c:spPr>
    </c:plotArea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r>
              <a:rPr lang="zh-CN" altLang="zh-CN" sz="1200" b="1" dirty="0">
                <a:effectLst/>
              </a:rPr>
              <a:t>南京市场（不含溧水、高淳）分面积段去化周期</a:t>
            </a:r>
          </a:p>
        </c:rich>
      </c:tx>
      <c:layout>
        <c:manualLayout>
          <c:xMode val="edge"/>
          <c:yMode val="edge"/>
          <c:x val="0.33560823979455406"/>
          <c:y val="7.72125064035551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库存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+㎡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9.52</c:v>
                </c:pt>
                <c:pt idx="1">
                  <c:v>94.5</c:v>
                </c:pt>
                <c:pt idx="2">
                  <c:v>81.23</c:v>
                </c:pt>
                <c:pt idx="3">
                  <c:v>33.49</c:v>
                </c:pt>
                <c:pt idx="4">
                  <c:v>12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D6-42D7-97CA-69FA5CBD2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35530240"/>
        <c:axId val="11355308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近3个月交易量预计去化周期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+㎡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62</c:v>
                </c:pt>
                <c:pt idx="1">
                  <c:v>3.55</c:v>
                </c:pt>
                <c:pt idx="2">
                  <c:v>3.46</c:v>
                </c:pt>
                <c:pt idx="3">
                  <c:v>4.9000000000000004</c:v>
                </c:pt>
                <c:pt idx="4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D6-42D7-97CA-69FA5CBD274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近12个月交易量预计去化周期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+㎡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45</c:v>
                </c:pt>
                <c:pt idx="1">
                  <c:v>0.52</c:v>
                </c:pt>
                <c:pt idx="2">
                  <c:v>0.46</c:v>
                </c:pt>
                <c:pt idx="3">
                  <c:v>0.69</c:v>
                </c:pt>
                <c:pt idx="4">
                  <c:v>1.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D6-42D7-97CA-69FA5CBD274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近36个月交易量预计去化周期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triangle"/>
            <c:size val="7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90㎡以下</c:v>
                </c:pt>
                <c:pt idx="1">
                  <c:v>90-120㎡</c:v>
                </c:pt>
                <c:pt idx="2">
                  <c:v>120-144㎡</c:v>
                </c:pt>
                <c:pt idx="3">
                  <c:v>144-180㎡</c:v>
                </c:pt>
                <c:pt idx="4">
                  <c:v>180+㎡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0.08</c:v>
                </c:pt>
                <c:pt idx="1">
                  <c:v>0.1</c:v>
                </c:pt>
                <c:pt idx="2">
                  <c:v>0.12</c:v>
                </c:pt>
                <c:pt idx="3">
                  <c:v>0.18</c:v>
                </c:pt>
                <c:pt idx="4">
                  <c:v>0.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D6-42D7-97CA-69FA5CBD2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3301704"/>
        <c:axId val="1133308264"/>
      </c:lineChart>
      <c:catAx>
        <c:axId val="113553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5530896"/>
        <c:crosses val="autoZero"/>
        <c:auto val="1"/>
        <c:lblAlgn val="ctr"/>
        <c:lblOffset val="100"/>
        <c:noMultiLvlLbl val="0"/>
      </c:catAx>
      <c:valAx>
        <c:axId val="1135530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5530240"/>
        <c:crosses val="autoZero"/>
        <c:crossBetween val="between"/>
      </c:valAx>
      <c:valAx>
        <c:axId val="11333082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133301704"/>
        <c:crosses val="max"/>
        <c:crossBetween val="between"/>
      </c:valAx>
      <c:catAx>
        <c:axId val="1133301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3330826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</c:dTable>
      <c:spPr>
        <a:noFill/>
        <a:ln>
          <a:solidFill>
            <a:schemeClr val="tx1">
              <a:lumMod val="50000"/>
              <a:lumOff val="50000"/>
            </a:schemeClr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16D6912-8724-4590-95E8-79A5C611274C}" type="datetimeFigureOut">
              <a:rPr lang="zh-CN" altLang="en-US" smtClean="0"/>
              <a:pPr/>
              <a:t>2018/5/30 Wednesday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0506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E3AE321D-7904-4C20-91E6-DFB367BFCA8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04347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FE522D91-C99B-45C5-89C9-879615FC43DC}" type="datetimeFigureOut">
              <a:rPr lang="zh-CN" altLang="en-US" smtClean="0"/>
              <a:pPr/>
              <a:t>2018/5/30 Wednesday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768350"/>
            <a:ext cx="57181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19F2CBBA-0DEC-4F07-94F2-F98010F9F6E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0396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5643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51286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76929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02571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28214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53857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79500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05143" algn="l" defTabSz="105128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2453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标题，文本与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2192" y="841006"/>
            <a:ext cx="8920734" cy="463576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52199" y="1484657"/>
            <a:ext cx="4381712" cy="4825529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图表占位符 3"/>
          <p:cNvSpPr>
            <a:spLocks noGrp="1"/>
          </p:cNvSpPr>
          <p:nvPr>
            <p:ph type="chart" sz="half" idx="2"/>
          </p:nvPr>
        </p:nvSpPr>
        <p:spPr>
          <a:xfrm>
            <a:off x="5191219" y="1484657"/>
            <a:ext cx="4381712" cy="4825529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endParaRPr lang="zh-CN" altLang="en-US" noProof="0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687312" y="6726251"/>
            <a:ext cx="172082" cy="138531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pPr>
              <a:defRPr/>
            </a:pPr>
            <a:fld id="{026C74CA-A7B2-41A6-ACE4-EBD0442F123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239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7784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9D534D-A643-4B5F-BB44-D27459234224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824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2B8AA-6D6D-49AA-A8BD-FA29F18AB96B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097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511254" y="6599179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493573" y="6594416"/>
            <a:ext cx="323794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12"/>
          <p:cNvSpPr>
            <a:spLocks noGrp="1"/>
          </p:cNvSpPr>
          <p:nvPr>
            <p:ph type="sldNum" sz="quarter" idx="12"/>
          </p:nvPr>
        </p:nvSpPr>
        <p:spPr>
          <a:xfrm>
            <a:off x="7855620" y="6594416"/>
            <a:ext cx="2385854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6B08B4-DC11-41D4-8062-BF64EC294052}" type="slidenum">
              <a:rPr lang="zh-CN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7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36437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9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1051" descr="华润置地logo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48" y="333450"/>
            <a:ext cx="137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052" descr="未标题-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3"/>
          <a:stretch>
            <a:fillRect/>
          </a:stretch>
        </p:blipFill>
        <p:spPr bwMode="auto">
          <a:xfrm>
            <a:off x="0" y="6071791"/>
            <a:ext cx="10225088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日期占位符 3"/>
          <p:cNvSpPr txBox="1">
            <a:spLocks/>
          </p:cNvSpPr>
          <p:nvPr/>
        </p:nvSpPr>
        <p:spPr>
          <a:xfrm>
            <a:off x="14125" y="6598146"/>
            <a:ext cx="1209987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1051286" rtl="0" eaLnBrk="1" latinLnBrk="0" hangingPunct="1">
              <a:defRPr sz="12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 marL="5256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286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29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571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214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857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500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1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华润置地</a:t>
            </a:r>
            <a:endParaRPr lang="zh-HK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灯片编号占位符 5"/>
          <p:cNvSpPr txBox="1">
            <a:spLocks/>
          </p:cNvSpPr>
          <p:nvPr/>
        </p:nvSpPr>
        <p:spPr>
          <a:xfrm>
            <a:off x="9289008" y="6598146"/>
            <a:ext cx="936104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1051286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286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29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571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214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857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500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143" algn="l" defTabSz="105128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81A6B-156C-4258-9126-72DB076CC73F}" type="slidenum">
              <a:rPr lang="zh-HK" altLang="en-US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pPr/>
              <a:t>‹#›</a:t>
            </a:fld>
            <a:endParaRPr lang="zh-HK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834192"/>
            <a:ext cx="10225088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8640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16" r:id="rId2"/>
  </p:sldLayoutIdLst>
  <p:txStyles>
    <p:titleStyle>
      <a:lvl1pPr algn="l" defTabSz="1051286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94232" indent="-394232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854170" indent="-328527" algn="l" defTabSz="105128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314107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839750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365393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891036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16678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42321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67964" indent="-262821" algn="l" defTabSz="105128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5643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1286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6929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02571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8214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53857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9500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05143" algn="l" defTabSz="105128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51" descr="华润置地logo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448" y="333450"/>
            <a:ext cx="137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52" descr="未标题-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3"/>
          <a:stretch>
            <a:fillRect/>
          </a:stretch>
        </p:blipFill>
        <p:spPr bwMode="auto">
          <a:xfrm>
            <a:off x="0" y="6071791"/>
            <a:ext cx="10225088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22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H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986" name="Picture 2" descr="C:\Users\wuwenxian\Desktop\图片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219432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802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5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6590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3181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97715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63620" algn="ctr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9428" indent="-34942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57096" indent="-29119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64762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668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96572" indent="-23295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2478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8382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4288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0192" indent="-232952" algn="l" defTabSz="9318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0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81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71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62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52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43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335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240" algn="l" defTabSz="9318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图表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1147221"/>
              </p:ext>
            </p:extLst>
          </p:nvPr>
        </p:nvGraphicFramePr>
        <p:xfrm>
          <a:off x="129629" y="1485900"/>
          <a:ext cx="10023475" cy="248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矩形 7"/>
          <p:cNvSpPr/>
          <p:nvPr/>
        </p:nvSpPr>
        <p:spPr>
          <a:xfrm>
            <a:off x="259518" y="6248495"/>
            <a:ext cx="9835941" cy="277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截止本月底库存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99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   去化周期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9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  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6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  按近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6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计算：</a:t>
            </a:r>
            <a:r>
              <a:rPr lang="en-US" altLang="zh-CN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1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zh-CN" altLang="en-US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285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518" y="333450"/>
            <a:ext cx="32194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13" rIns="91425" bIns="45713">
            <a:spAutoFit/>
          </a:bodyPr>
          <a:lstStyle/>
          <a:p>
            <a:pPr eaLnBrk="0" hangingPunct="0"/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住宅市场</a:t>
            </a:r>
          </a:p>
        </p:txBody>
      </p:sp>
      <p:sp>
        <p:nvSpPr>
          <p:cNvPr id="225286" name="矩形 9"/>
          <p:cNvSpPr>
            <a:spLocks noChangeArrowheads="1"/>
          </p:cNvSpPr>
          <p:nvPr/>
        </p:nvSpPr>
        <p:spPr bwMode="auto">
          <a:xfrm>
            <a:off x="259518" y="927100"/>
            <a:ext cx="983594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上市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8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环比增长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11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成交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6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环比下降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6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成交均价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25861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元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/㎡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，环比下降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7%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。截止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月底全市库存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399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万㎡，去化周期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7.0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个月（按</a:t>
            </a:r>
            <a:r>
              <a:rPr lang="en-US" altLang="zh-CN" sz="1600" b="1" dirty="0">
                <a:latin typeface="微软雅黑" pitchFamily="34" charset="-122"/>
                <a:ea typeface="微软雅黑" pitchFamily="34" charset="-122"/>
              </a:rPr>
              <a:t>12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个月计算）。</a:t>
            </a:r>
          </a:p>
        </p:txBody>
      </p:sp>
      <p:cxnSp>
        <p:nvCxnSpPr>
          <p:cNvPr id="3" name="直接连接符 2"/>
          <p:cNvCxnSpPr/>
          <p:nvPr/>
        </p:nvCxnSpPr>
        <p:spPr>
          <a:xfrm>
            <a:off x="1224112" y="2588558"/>
            <a:ext cx="8229600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12"/>
          <p:cNvSpPr/>
          <p:nvPr/>
        </p:nvSpPr>
        <p:spPr>
          <a:xfrm>
            <a:off x="8718004" y="1590676"/>
            <a:ext cx="1155700" cy="3889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512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一年月均供应：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</a:t>
            </a:r>
          </a:p>
        </p:txBody>
      </p:sp>
      <p:cxnSp>
        <p:nvCxnSpPr>
          <p:cNvPr id="14" name="直接连接符 13"/>
          <p:cNvCxnSpPr/>
          <p:nvPr/>
        </p:nvCxnSpPr>
        <p:spPr>
          <a:xfrm>
            <a:off x="1224112" y="2589508"/>
            <a:ext cx="8229600" cy="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>
            <a:cxnSpLocks/>
            <a:stCxn id="13" idx="2"/>
          </p:cNvCxnSpPr>
          <p:nvPr/>
        </p:nvCxnSpPr>
        <p:spPr>
          <a:xfrm>
            <a:off x="9295854" y="1979614"/>
            <a:ext cx="0" cy="6089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>
            <a:cxnSpLocks/>
            <a:stCxn id="20" idx="2"/>
          </p:cNvCxnSpPr>
          <p:nvPr/>
        </p:nvCxnSpPr>
        <p:spPr>
          <a:xfrm>
            <a:off x="8042760" y="1979613"/>
            <a:ext cx="0" cy="6283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19"/>
          <p:cNvSpPr/>
          <p:nvPr/>
        </p:nvSpPr>
        <p:spPr>
          <a:xfrm>
            <a:off x="7464910" y="1590676"/>
            <a:ext cx="1155700" cy="3889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5128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一年月均成交：</a:t>
            </a: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㎡</a:t>
            </a:r>
          </a:p>
        </p:txBody>
      </p:sp>
      <p:graphicFrame>
        <p:nvGraphicFramePr>
          <p:cNvPr id="18" name="图表 17">
            <a:extLst>
              <a:ext uri="{FF2B5EF4-FFF2-40B4-BE49-F238E27FC236}">
                <a16:creationId xmlns:a16="http://schemas.microsoft.com/office/drawing/2014/main" id="{5F85FE75-5E71-40EE-9ED9-405F0E8B3C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5643918"/>
              </p:ext>
            </p:extLst>
          </p:nvPr>
        </p:nvGraphicFramePr>
        <p:xfrm>
          <a:off x="129628" y="3837096"/>
          <a:ext cx="9965831" cy="2401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03783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5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9518" y="333450"/>
            <a:ext cx="32194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13" rIns="91425" bIns="45713">
            <a:spAutoFit/>
          </a:bodyPr>
          <a:lstStyle/>
          <a:p>
            <a:pPr eaLnBrk="0" hangingPunct="0"/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住宅市场</a:t>
            </a:r>
          </a:p>
        </p:txBody>
      </p:sp>
      <p:sp>
        <p:nvSpPr>
          <p:cNvPr id="225286" name="矩形 9"/>
          <p:cNvSpPr>
            <a:spLocks noChangeArrowheads="1"/>
          </p:cNvSpPr>
          <p:nvPr/>
        </p:nvSpPr>
        <p:spPr bwMode="auto">
          <a:xfrm>
            <a:off x="259518" y="927100"/>
            <a:ext cx="9835941" cy="658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月南京商品住宅成交主要以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以下首置首改为主，其中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以下成交总价段多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0-25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-12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成交总价段多集中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-30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8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以上成交总价段多集中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以上。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6B24ADC7-BC39-484D-830C-BAD5B71BD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571814"/>
              </p:ext>
            </p:extLst>
          </p:nvPr>
        </p:nvGraphicFramePr>
        <p:xfrm>
          <a:off x="259519" y="1607016"/>
          <a:ext cx="9706500" cy="4807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12547">
                  <a:extLst>
                    <a:ext uri="{9D8B030D-6E8A-4147-A177-3AD203B41FA5}">
                      <a16:colId xmlns:a16="http://schemas.microsoft.com/office/drawing/2014/main" val="1311096854"/>
                    </a:ext>
                  </a:extLst>
                </a:gridCol>
                <a:gridCol w="1413298">
                  <a:extLst>
                    <a:ext uri="{9D8B030D-6E8A-4147-A177-3AD203B41FA5}">
                      <a16:colId xmlns:a16="http://schemas.microsoft.com/office/drawing/2014/main" val="4531491"/>
                    </a:ext>
                  </a:extLst>
                </a:gridCol>
                <a:gridCol w="1635615">
                  <a:extLst>
                    <a:ext uri="{9D8B030D-6E8A-4147-A177-3AD203B41FA5}">
                      <a16:colId xmlns:a16="http://schemas.microsoft.com/office/drawing/2014/main" val="206726711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2513160813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1927321338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2678409539"/>
                    </a:ext>
                  </a:extLst>
                </a:gridCol>
                <a:gridCol w="1286260">
                  <a:extLst>
                    <a:ext uri="{9D8B030D-6E8A-4147-A177-3AD203B41FA5}">
                      <a16:colId xmlns:a16="http://schemas.microsoft.com/office/drawing/2014/main" val="1413640405"/>
                    </a:ext>
                  </a:extLst>
                </a:gridCol>
              </a:tblGrid>
              <a:tr h="343423">
                <a:tc gridSpan="7">
                  <a:txBody>
                    <a:bodyPr/>
                    <a:lstStyle/>
                    <a:p>
                      <a:pPr marL="0" marR="0" lvl="0" indent="0" algn="ctr" defTabSz="10512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京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含溧水、高淳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 2018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月 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品住宅 销售情况 总价段</a:t>
                      </a:r>
                      <a:r>
                        <a:rPr lang="en-US" altLang="zh-CN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4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段 交叉分析统计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zh-CN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60743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价段</a:t>
                      </a:r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㎡</a:t>
                      </a:r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下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-120㎡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-144㎡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4-180㎡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0㎡</a:t>
                      </a:r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6662935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</a:t>
                      </a:r>
                      <a:r>
                        <a:rPr lang="zh-CN" alt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以下</a:t>
                      </a:r>
                      <a:endParaRPr lang="en-US" altLang="zh-CN" sz="14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5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080886467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0-12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58082051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0-15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6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833892794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0-20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922598193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0-25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2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54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2237977860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0-30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2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77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484495278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0-35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5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565477081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50-40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8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70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259810682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00-45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37087900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50-50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5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4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159431825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0</a:t>
                      </a:r>
                      <a:r>
                        <a:rPr lang="zh-CN" alt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以上</a:t>
                      </a:r>
                      <a:endParaRPr lang="en-US" altLang="zh-CN" sz="14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2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1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388740346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合计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87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53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3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9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0</a:t>
                      </a: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929</a:t>
                      </a: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649917834"/>
                  </a:ext>
                </a:extLst>
              </a:tr>
            </a:tbl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D198DE59-5393-4B1B-835D-360C4E497613}"/>
              </a:ext>
            </a:extLst>
          </p:cNvPr>
          <p:cNvSpPr/>
          <p:nvPr/>
        </p:nvSpPr>
        <p:spPr>
          <a:xfrm>
            <a:off x="1784865" y="3285777"/>
            <a:ext cx="1413936" cy="77873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93BDD66-AA83-4DD4-97F6-587BFD523B8A}"/>
              </a:ext>
            </a:extLst>
          </p:cNvPr>
          <p:cNvSpPr/>
          <p:nvPr/>
        </p:nvSpPr>
        <p:spPr>
          <a:xfrm>
            <a:off x="3198800" y="3585566"/>
            <a:ext cx="1625711" cy="77873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759D54E-8457-44C7-8E7D-95D7E8D950E1}"/>
              </a:ext>
            </a:extLst>
          </p:cNvPr>
          <p:cNvSpPr/>
          <p:nvPr/>
        </p:nvSpPr>
        <p:spPr>
          <a:xfrm>
            <a:off x="7416800" y="5667765"/>
            <a:ext cx="1275485" cy="42632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7023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097" y="292705"/>
            <a:ext cx="6617760" cy="415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10" tIns="45505" rIns="91010" bIns="45505">
            <a:spAutoFit/>
          </a:bodyPr>
          <a:lstStyle/>
          <a:p>
            <a:pPr defTabSz="1046514" eaLnBrk="0" hangingPunct="0"/>
            <a:r>
              <a:rPr lang="zh-CN" altLang="en-US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我司项目及周围竞品销售分析</a:t>
            </a:r>
          </a:p>
        </p:txBody>
      </p:sp>
      <p:sp>
        <p:nvSpPr>
          <p:cNvPr id="6" name="矩形 5"/>
          <p:cNvSpPr/>
          <p:nvPr/>
        </p:nvSpPr>
        <p:spPr>
          <a:xfrm>
            <a:off x="282097" y="938897"/>
            <a:ext cx="9799000" cy="953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限签备案影响，成交数据比实际有所延迟。华润国际社区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世茂荣里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2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4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中建国熙台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三金鑫宁府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6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雅居乐滨江国际签约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6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观山悦签约洋房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8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小高层住宅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㎡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B63C1906-A36C-42F1-BE4C-7FAA72AF0DCA}"/>
              </a:ext>
            </a:extLst>
          </p:cNvPr>
          <p:cNvGrpSpPr/>
          <p:nvPr/>
        </p:nvGrpSpPr>
        <p:grpSpPr>
          <a:xfrm>
            <a:off x="2376240" y="1884552"/>
            <a:ext cx="5486454" cy="4713594"/>
            <a:chOff x="2130391" y="2025154"/>
            <a:chExt cx="4696157" cy="4212952"/>
          </a:xfrm>
        </p:grpSpPr>
        <p:sp>
          <p:nvSpPr>
            <p:cNvPr id="7" name="矩形 6"/>
            <p:cNvSpPr/>
            <p:nvPr/>
          </p:nvSpPr>
          <p:spPr>
            <a:xfrm>
              <a:off x="2130391" y="2025154"/>
              <a:ext cx="4509689" cy="3934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762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018" tIns="45509" rIns="91018" bIns="45509" rtlCol="0" anchor="ctr"/>
            <a:lstStyle/>
            <a:p>
              <a:pPr algn="ctr" defTabSz="1046514"/>
              <a:r>
                <a:rPr lang="zh-CN" altLang="en-US" sz="16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社项目及竞品成交分析</a:t>
              </a:r>
            </a:p>
          </p:txBody>
        </p:sp>
        <p:pic>
          <p:nvPicPr>
            <p:cNvPr id="32" name="Picture 5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9" t="1672" r="5930"/>
            <a:stretch/>
          </p:blipFill>
          <p:spPr bwMode="auto">
            <a:xfrm>
              <a:off x="2130391" y="2418629"/>
              <a:ext cx="4507151" cy="38194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椭圆 33"/>
            <p:cNvSpPr/>
            <p:nvPr/>
          </p:nvSpPr>
          <p:spPr>
            <a:xfrm>
              <a:off x="3763257" y="4819538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4693098" y="3801118"/>
              <a:ext cx="1228587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社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3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9638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m²</a:t>
              </a:r>
            </a:p>
          </p:txBody>
        </p:sp>
        <p:sp>
          <p:nvSpPr>
            <p:cNvPr id="36" name="矩形 35"/>
            <p:cNvSpPr/>
            <p:nvPr/>
          </p:nvSpPr>
          <p:spPr>
            <a:xfrm>
              <a:off x="3034211" y="4197439"/>
              <a:ext cx="1234075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建国熙台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2788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m²</a:t>
              </a:r>
            </a:p>
          </p:txBody>
        </p:sp>
        <p:sp>
          <p:nvSpPr>
            <p:cNvPr id="38" name="矩形 37"/>
            <p:cNvSpPr/>
            <p:nvPr/>
          </p:nvSpPr>
          <p:spPr>
            <a:xfrm>
              <a:off x="2785425" y="5367055"/>
              <a:ext cx="1234075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金鑫宁府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96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4840166" y="4800295"/>
              <a:ext cx="1475565" cy="530837"/>
            </a:xfrm>
            <a:prstGeom prst="rect">
              <a:avLst/>
            </a:prstGeom>
          </p:spPr>
          <p:txBody>
            <a:bodyPr wrap="non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雅居乐滨江国际（精装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651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㎡</a:t>
              </a:r>
            </a:p>
          </p:txBody>
        </p:sp>
        <p:sp>
          <p:nvSpPr>
            <p:cNvPr id="42" name="矩形 41"/>
            <p:cNvSpPr/>
            <p:nvPr/>
          </p:nvSpPr>
          <p:spPr>
            <a:xfrm>
              <a:off x="3114712" y="2528406"/>
              <a:ext cx="1689480" cy="833432"/>
            </a:xfrm>
            <a:prstGeom prst="rect">
              <a:avLst/>
            </a:prstGeom>
          </p:spPr>
          <p:txBody>
            <a:bodyPr wrap="squar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观山悦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洋房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高层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洋房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8386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小高层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5089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C2D103A7-C886-4E52-971E-9704799775A0}"/>
                </a:ext>
              </a:extLst>
            </p:cNvPr>
            <p:cNvSpPr/>
            <p:nvPr/>
          </p:nvSpPr>
          <p:spPr>
            <a:xfrm>
              <a:off x="4667515" y="4858447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51B2A93E-A6C1-42D6-A348-81E1CC81B16A}"/>
                </a:ext>
              </a:extLst>
            </p:cNvPr>
            <p:cNvSpPr/>
            <p:nvPr/>
          </p:nvSpPr>
          <p:spPr>
            <a:xfrm>
              <a:off x="3168328" y="5216131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51F2C1AD-F723-477D-B4F2-97042ED3FB6E}"/>
                </a:ext>
              </a:extLst>
            </p:cNvPr>
            <p:cNvSpPr/>
            <p:nvPr/>
          </p:nvSpPr>
          <p:spPr>
            <a:xfrm>
              <a:off x="4669692" y="3140711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891DB971-0124-4A54-B715-4803DA676F19}"/>
                </a:ext>
              </a:extLst>
            </p:cNvPr>
            <p:cNvSpPr/>
            <p:nvPr/>
          </p:nvSpPr>
          <p:spPr>
            <a:xfrm>
              <a:off x="4890430" y="2983069"/>
              <a:ext cx="136677" cy="13196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5255" tIns="42627" rIns="85255" bIns="42627" rtlCol="0" anchor="ctr"/>
            <a:lstStyle/>
            <a:p>
              <a:pPr algn="ctr" defTabSz="1046514"/>
              <a:endParaRPr lang="zh-CN" altLang="en-US" sz="120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E29C1CF9-D230-4A03-AC74-D68232A65939}"/>
                </a:ext>
              </a:extLst>
            </p:cNvPr>
            <p:cNvSpPr/>
            <p:nvPr/>
          </p:nvSpPr>
          <p:spPr>
            <a:xfrm>
              <a:off x="5137068" y="2536204"/>
              <a:ext cx="1689480" cy="530837"/>
            </a:xfrm>
            <a:prstGeom prst="rect">
              <a:avLst/>
            </a:prstGeom>
          </p:spPr>
          <p:txBody>
            <a:bodyPr wrap="square" lIns="85255" tIns="42627" rIns="85255" bIns="42627">
              <a:spAutoFit/>
            </a:bodyPr>
            <a:lstStyle/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荣里（毛坯）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交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2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套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defTabSz="1046514"/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均价：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107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星形: 五角 3">
              <a:extLst>
                <a:ext uri="{FF2B5EF4-FFF2-40B4-BE49-F238E27FC236}">
                  <a16:creationId xmlns:a16="http://schemas.microsoft.com/office/drawing/2014/main" id="{0A426F83-10E8-412F-BA81-E77D151EE303}"/>
                </a:ext>
              </a:extLst>
            </p:cNvPr>
            <p:cNvSpPr/>
            <p:nvPr/>
          </p:nvSpPr>
          <p:spPr>
            <a:xfrm>
              <a:off x="4914215" y="3517909"/>
              <a:ext cx="225784" cy="225784"/>
            </a:xfrm>
            <a:prstGeom prst="star5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807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100" y="236935"/>
            <a:ext cx="1287501" cy="415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073" tIns="45537" rIns="91073" bIns="45537">
            <a:spAutoFit/>
          </a:bodyPr>
          <a:lstStyle/>
          <a:p>
            <a:pPr defTabSz="1047231" eaLnBrk="0" hangingPunct="0"/>
            <a:r>
              <a:rPr lang="zh-CN" altLang="en-US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排行榜</a:t>
            </a:r>
          </a:p>
        </p:txBody>
      </p:sp>
      <p:sp>
        <p:nvSpPr>
          <p:cNvPr id="6" name="矩形 5"/>
          <p:cNvSpPr/>
          <p:nvPr/>
        </p:nvSpPr>
        <p:spPr>
          <a:xfrm>
            <a:off x="282100" y="959099"/>
            <a:ext cx="9792038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受限签备案影响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南京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OP10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为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-2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楼盘，成交以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项目为主，占据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席，融创玉兰公馆、奥克斯钟山府、恒大悦澜湾分别占据前三名。</a:t>
            </a:r>
          </a:p>
        </p:txBody>
      </p:sp>
      <p:sp>
        <p:nvSpPr>
          <p:cNvPr id="8" name="矩形 7"/>
          <p:cNvSpPr/>
          <p:nvPr/>
        </p:nvSpPr>
        <p:spPr>
          <a:xfrm>
            <a:off x="5497193" y="5708496"/>
            <a:ext cx="1016427" cy="2689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6509447" y="5713403"/>
            <a:ext cx="1288343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以下</a:t>
            </a:r>
          </a:p>
        </p:txBody>
      </p:sp>
      <p:sp>
        <p:nvSpPr>
          <p:cNvPr id="10" name="矩形 9"/>
          <p:cNvSpPr/>
          <p:nvPr/>
        </p:nvSpPr>
        <p:spPr>
          <a:xfrm>
            <a:off x="7734290" y="5707557"/>
            <a:ext cx="1016427" cy="2689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751044" y="5705744"/>
            <a:ext cx="1170184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</a:p>
        </p:txBody>
      </p:sp>
      <p:sp>
        <p:nvSpPr>
          <p:cNvPr id="12" name="矩形 11"/>
          <p:cNvSpPr/>
          <p:nvPr/>
        </p:nvSpPr>
        <p:spPr>
          <a:xfrm>
            <a:off x="5497193" y="6113180"/>
            <a:ext cx="1016427" cy="2689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509447" y="6107129"/>
            <a:ext cx="1170184" cy="268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-4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</a:p>
        </p:txBody>
      </p:sp>
      <p:sp>
        <p:nvSpPr>
          <p:cNvPr id="14" name="矩形 13"/>
          <p:cNvSpPr/>
          <p:nvPr/>
        </p:nvSpPr>
        <p:spPr>
          <a:xfrm>
            <a:off x="7734290" y="6107129"/>
            <a:ext cx="1016427" cy="2689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751044" y="6117663"/>
            <a:ext cx="1305531" cy="264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1" rIns="91081" bIns="45541" rtlCol="0" anchor="ctr"/>
          <a:lstStyle/>
          <a:p>
            <a:pPr defTabSz="1047231"/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以上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00" y="1637620"/>
            <a:ext cx="4974787" cy="4740018"/>
          </a:xfrm>
          <a:prstGeom prst="rect">
            <a:avLst/>
          </a:prstGeom>
        </p:spPr>
      </p:pic>
      <p:graphicFrame>
        <p:nvGraphicFramePr>
          <p:cNvPr id="7" name="表格 6">
            <a:extLst>
              <a:ext uri="{FF2B5EF4-FFF2-40B4-BE49-F238E27FC236}">
                <a16:creationId xmlns:a16="http://schemas.microsoft.com/office/drawing/2014/main" id="{0CA76842-A212-4027-8C3D-2BFE3ADB27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357491"/>
              </p:ext>
            </p:extLst>
          </p:nvPr>
        </p:nvGraphicFramePr>
        <p:xfrm>
          <a:off x="5497194" y="1637620"/>
          <a:ext cx="4559383" cy="391564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56560">
                  <a:extLst>
                    <a:ext uri="{9D8B030D-6E8A-4147-A177-3AD203B41FA5}">
                      <a16:colId xmlns:a16="http://schemas.microsoft.com/office/drawing/2014/main" val="2681031665"/>
                    </a:ext>
                  </a:extLst>
                </a:gridCol>
                <a:gridCol w="1347022">
                  <a:extLst>
                    <a:ext uri="{9D8B030D-6E8A-4147-A177-3AD203B41FA5}">
                      <a16:colId xmlns:a16="http://schemas.microsoft.com/office/drawing/2014/main" val="2688675730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394481334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961773158"/>
                    </a:ext>
                  </a:extLst>
                </a:gridCol>
                <a:gridCol w="427241">
                  <a:extLst>
                    <a:ext uri="{9D8B030D-6E8A-4147-A177-3AD203B41FA5}">
                      <a16:colId xmlns:a16="http://schemas.microsoft.com/office/drawing/2014/main" val="2259372686"/>
                    </a:ext>
                  </a:extLst>
                </a:gridCol>
                <a:gridCol w="648889">
                  <a:extLst>
                    <a:ext uri="{9D8B030D-6E8A-4147-A177-3AD203B41FA5}">
                      <a16:colId xmlns:a16="http://schemas.microsoft.com/office/drawing/2014/main" val="2745938380"/>
                    </a:ext>
                  </a:extLst>
                </a:gridCol>
                <a:gridCol w="699551">
                  <a:extLst>
                    <a:ext uri="{9D8B030D-6E8A-4147-A177-3AD203B41FA5}">
                      <a16:colId xmlns:a16="http://schemas.microsoft.com/office/drawing/2014/main" val="1782086618"/>
                    </a:ext>
                  </a:extLst>
                </a:gridCol>
              </a:tblGrid>
              <a:tr h="51654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排名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称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板块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面积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数</a:t>
                      </a:r>
                      <a:endParaRPr lang="zh-CN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额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亿元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价</a:t>
                      </a:r>
                      <a:endParaRPr lang="en-US" altLang="zh-CN" sz="1100" b="1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 fontAlgn="ctr"/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1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)</a:t>
                      </a:r>
                      <a:endParaRPr lang="en-US" altLang="zh-CN" sz="11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046297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南京溧水万达广场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溧水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01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37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06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758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10247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侨悦城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宁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88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69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83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772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9188586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天岳城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溧水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74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7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22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118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083904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恒大金碧天下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溧水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8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8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2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846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293234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达茂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仙林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18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06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39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517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3226102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世茂荣里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13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2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14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107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47508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科城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溧水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9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4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54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2164</a:t>
                      </a:r>
                    </a:p>
                  </a:txBody>
                  <a:tcPr marL="57150" marR="57150" marT="57150" marB="57150" anchor="ctr"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14684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御澜府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5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4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22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477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306253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海赋尚城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城北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04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29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.23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641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109475"/>
                  </a:ext>
                </a:extLst>
              </a:tr>
              <a:tr h="339910"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华锦绣时代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zh-CN" altLang="en-US" sz="11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江北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98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1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.58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51286" rtl="0" eaLnBrk="1" fontAlgn="ctr" latinLnBrk="0" hangingPunct="1"/>
                      <a:r>
                        <a:rPr lang="en-US" altLang="zh-CN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3096</a:t>
                      </a:r>
                    </a:p>
                  </a:txBody>
                  <a:tcPr marL="57150" marR="57150" marT="57150" marB="57150" anchor="ctr"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503955"/>
                  </a:ext>
                </a:extLst>
              </a:tr>
            </a:tbl>
          </a:graphicData>
        </a:graphic>
      </p:graphicFrame>
      <p:sp>
        <p:nvSpPr>
          <p:cNvPr id="30" name="椭圆 29">
            <a:extLst>
              <a:ext uri="{FF2B5EF4-FFF2-40B4-BE49-F238E27FC236}">
                <a16:creationId xmlns:a16="http://schemas.microsoft.com/office/drawing/2014/main" id="{98591A4F-0576-41FB-8C0C-AB43DAAF697A}"/>
              </a:ext>
            </a:extLst>
          </p:cNvPr>
          <p:cNvSpPr/>
          <p:nvPr/>
        </p:nvSpPr>
        <p:spPr>
          <a:xfrm>
            <a:off x="3168328" y="3735723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2</a:t>
            </a:r>
            <a:endParaRPr lang="zh-CN" altLang="en-US" sz="1400" b="1" dirty="0"/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C37D7DE6-7E05-448B-AE70-E78A0FD97AE9}"/>
              </a:ext>
            </a:extLst>
          </p:cNvPr>
          <p:cNvSpPr/>
          <p:nvPr/>
        </p:nvSpPr>
        <p:spPr>
          <a:xfrm>
            <a:off x="2553469" y="3470968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1</a:t>
            </a:r>
            <a:endParaRPr lang="zh-CN" altLang="en-US" sz="1400" b="1" dirty="0"/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F060B712-FFDF-4BB1-AFB0-7B3CA36651C3}"/>
              </a:ext>
            </a:extLst>
          </p:cNvPr>
          <p:cNvSpPr/>
          <p:nvPr/>
        </p:nvSpPr>
        <p:spPr>
          <a:xfrm>
            <a:off x="2661481" y="5337248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3</a:t>
            </a:r>
            <a:endParaRPr lang="zh-CN" altLang="en-US" sz="1400" b="1" dirty="0"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619F0434-72FE-4796-A054-0E7ED7E75243}"/>
              </a:ext>
            </a:extLst>
          </p:cNvPr>
          <p:cNvSpPr/>
          <p:nvPr/>
        </p:nvSpPr>
        <p:spPr>
          <a:xfrm>
            <a:off x="2088208" y="3716111"/>
            <a:ext cx="216024" cy="21602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4</a:t>
            </a:r>
            <a:endParaRPr lang="zh-CN" altLang="en-US" sz="1400" b="1" dirty="0"/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3CFBB8B0-271A-456F-8751-01F179B58436}"/>
              </a:ext>
            </a:extLst>
          </p:cNvPr>
          <p:cNvSpPr/>
          <p:nvPr/>
        </p:nvSpPr>
        <p:spPr>
          <a:xfrm>
            <a:off x="2121534" y="3321782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5</a:t>
            </a:r>
            <a:endParaRPr lang="zh-CN" altLang="en-US" sz="1400" b="1" dirty="0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DB14EF62-F5CE-4B9B-8CD2-10DA9ACB3B85}"/>
              </a:ext>
            </a:extLst>
          </p:cNvPr>
          <p:cNvSpPr/>
          <p:nvPr/>
        </p:nvSpPr>
        <p:spPr>
          <a:xfrm>
            <a:off x="3698356" y="3284414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6</a:t>
            </a:r>
            <a:endParaRPr lang="zh-CN" altLang="en-US" sz="1400" b="1" dirty="0"/>
          </a:p>
        </p:txBody>
      </p:sp>
      <p:sp>
        <p:nvSpPr>
          <p:cNvPr id="36" name="椭圆 35">
            <a:extLst>
              <a:ext uri="{FF2B5EF4-FFF2-40B4-BE49-F238E27FC236}">
                <a16:creationId xmlns:a16="http://schemas.microsoft.com/office/drawing/2014/main" id="{786E18EE-7F7F-4460-A237-20CDC797ED08}"/>
              </a:ext>
            </a:extLst>
          </p:cNvPr>
          <p:cNvSpPr/>
          <p:nvPr/>
        </p:nvSpPr>
        <p:spPr>
          <a:xfrm>
            <a:off x="2982715" y="4050457"/>
            <a:ext cx="216024" cy="21602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7</a:t>
            </a:r>
            <a:endParaRPr lang="zh-CN" altLang="en-US" sz="1400" b="1" dirty="0"/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8CA7D3D9-FABE-4928-B486-3AB7B582AE3E}"/>
              </a:ext>
            </a:extLst>
          </p:cNvPr>
          <p:cNvSpPr/>
          <p:nvPr/>
        </p:nvSpPr>
        <p:spPr>
          <a:xfrm>
            <a:off x="1752031" y="3791605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8</a:t>
            </a:r>
            <a:endParaRPr lang="zh-CN" altLang="en-US" sz="1400" b="1" dirty="0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40EF4BBF-982C-49B6-AD3F-CD014080DDFC}"/>
              </a:ext>
            </a:extLst>
          </p:cNvPr>
          <p:cNvSpPr/>
          <p:nvPr/>
        </p:nvSpPr>
        <p:spPr>
          <a:xfrm>
            <a:off x="2747814" y="3461199"/>
            <a:ext cx="216024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/>
              <a:t>9</a:t>
            </a:r>
            <a:endParaRPr lang="zh-CN" altLang="en-US" sz="1400" b="1" dirty="0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80FD5CB5-C2A3-42D6-994D-7E921CDE27A4}"/>
              </a:ext>
            </a:extLst>
          </p:cNvPr>
          <p:cNvGrpSpPr/>
          <p:nvPr/>
        </p:nvGrpSpPr>
        <p:grpSpPr>
          <a:xfrm>
            <a:off x="3486635" y="3509182"/>
            <a:ext cx="367408" cy="307777"/>
            <a:chOff x="3486635" y="3509182"/>
            <a:chExt cx="367408" cy="307777"/>
          </a:xfrm>
        </p:grpSpPr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99789469-12B9-4FE8-BF07-E6D0D8B93AF7}"/>
                </a:ext>
              </a:extLst>
            </p:cNvPr>
            <p:cNvSpPr/>
            <p:nvPr/>
          </p:nvSpPr>
          <p:spPr>
            <a:xfrm>
              <a:off x="3564535" y="3555059"/>
              <a:ext cx="216024" cy="21602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b="1" dirty="0"/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2BB56ED5-3D98-43BA-B0EA-D76A589122EB}"/>
                </a:ext>
              </a:extLst>
            </p:cNvPr>
            <p:cNvSpPr txBox="1"/>
            <p:nvPr/>
          </p:nvSpPr>
          <p:spPr>
            <a:xfrm>
              <a:off x="3486635" y="3509182"/>
              <a:ext cx="367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10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128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5.66241122931390080000E+000&quot;&gt;&lt;m_ppcolschidx val=&quot;0&quot;/&gt;&lt;m_rgb r=&quot;fc&quot; g=&quot;b5&quot; b=&quot;10&quot;/&gt;&lt;/elem&gt;&lt;elem m_fUsage=&quot;2.04990952519000040000E+000&quot;&gt;&lt;m_ppcolschidx val=&quot;0&quot;/&gt;&lt;m_rgb r=&quot;ef&quot; g=&quot;6b&quot; b=&quot;1d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7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AJJGRBEOBFGTd_sQDtQ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233</TotalTime>
  <Words>764</Words>
  <Application>Microsoft Office PowerPoint</Application>
  <PresentationFormat>自定义</PresentationFormat>
  <Paragraphs>220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2" baseType="lpstr">
      <vt:lpstr>宋体</vt:lpstr>
      <vt:lpstr>微软雅黑</vt:lpstr>
      <vt:lpstr>Arial</vt:lpstr>
      <vt:lpstr>Calibri</vt:lpstr>
      <vt:lpstr>1_Office 主题​​</vt:lpstr>
      <vt:lpstr>自定义设计方案</vt:lpstr>
      <vt:lpstr>1_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07.17.崔璨</dc:creator>
  <cp:lastModifiedBy>Peng Ziqiao</cp:lastModifiedBy>
  <cp:revision>2835</cp:revision>
  <cp:lastPrinted>2013-12-09T07:40:30Z</cp:lastPrinted>
  <dcterms:created xsi:type="dcterms:W3CDTF">2013-12-06T09:54:41Z</dcterms:created>
  <dcterms:modified xsi:type="dcterms:W3CDTF">2018-05-30T10:16:20Z</dcterms:modified>
</cp:coreProperties>
</file>